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p:scale>
          <a:sx n="160" d="100"/>
          <a:sy n="160" d="100"/>
        </p:scale>
        <p:origin x="-8256" y="-762"/>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74C31AC3-42BD-428A-946F-8459B2DF951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E2A25FE4-8735-45F0-8EFC-5D8B7EDBF4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FC1CAC8E-2BD2-43B0-A5AB-7839DF9BFC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8000000000000003</c:v>
                </c:pt>
                <c:pt idx="1">
                  <c:v>0.32</c:v>
                </c:pt>
                <c:pt idx="2">
                  <c:v>0.35</c:v>
                </c:pt>
                <c:pt idx="3">
                  <c:v>0.05</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8%</c:v>
                  </c:pt>
                  <c:pt idx="1">
                    <c:v>32%</c:v>
                  </c:pt>
                  <c:pt idx="2">
                    <c:v>35%</c:v>
                  </c:pt>
                  <c:pt idx="3">
                    <c:v>5%</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4B5604F0-A9A1-433D-A3F9-5A7789A6C8F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6A3A0FA5-3190-47AB-ABF2-AF742757CBA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D525887F-F44F-47B5-8A94-C4CA5B33FFB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7</c:v>
                </c:pt>
                <c:pt idx="2">
                  <c:v>0.55000000000000004</c:v>
                </c:pt>
                <c:pt idx="3">
                  <c:v>0.27</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c:v>
                  </c:pt>
                  <c:pt idx="1">
                    <c:v>17%</c:v>
                  </c:pt>
                  <c:pt idx="2">
                    <c:v>55%</c:v>
                  </c:pt>
                  <c:pt idx="3">
                    <c:v>27%</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2</c:v>
                </c:pt>
                <c:pt idx="1">
                  <c:v>0.82</c:v>
                </c:pt>
                <c:pt idx="2">
                  <c:v>0.85</c:v>
                </c:pt>
                <c:pt idx="3">
                  <c:v>0.8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BC954BE4-0A5C-44BD-987C-6E4B75524D7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14300324-2368-42C2-8D37-99E0A3578E1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823E80E3-88C9-4D0D-9F5B-51DFC2AC9E2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8</c:v>
                </c:pt>
                <c:pt idx="1">
                  <c:v>0.18</c:v>
                </c:pt>
                <c:pt idx="2">
                  <c:v>0.15</c:v>
                </c:pt>
                <c:pt idx="3">
                  <c:v>0.1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82%</c:v>
                  </c:pt>
                  <c:pt idx="1">
                    <c:v>82%</c:v>
                  </c:pt>
                  <c:pt idx="2">
                    <c:v>85%</c:v>
                  </c:pt>
                  <c:pt idx="3">
                    <c:v>89%</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4</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2E4AEEEA-5991-4B54-9137-9A4942089F5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D296C753-3F0E-4EA7-AB53-0666A8A49CC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B7D6E8F3-CAD8-4AE3-BB89-3142241970B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ED284FAC-A13C-42FF-A613-73847C20FB8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6</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4%</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79</c:v>
                </c:pt>
                <c:pt idx="1">
                  <c:v>0.88</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44B8D7F1-4BF6-41F6-8241-6D9AE9BF309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6469568E-8D32-418C-B875-39E03D4BCA4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62D726F0-0178-4247-9B0F-814CF8C021B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A87B66EC-F1A9-4DBD-989C-6D6DC5627A5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1</c:v>
                </c:pt>
                <c:pt idx="1">
                  <c:v>0.12</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9%</c:v>
                  </c:pt>
                  <c:pt idx="1">
                    <c:v>88%</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4</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49292880-444D-4AED-B534-5994A08F1AC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C2FA28E5-6B0C-475C-B0FC-CA673BE705F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6</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4%</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7%</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7</c:v>
                </c:pt>
                <c:pt idx="1">
                  <c:v>0.8</c:v>
                </c:pt>
                <c:pt idx="2">
                  <c:v>0.92</c:v>
                </c:pt>
                <c:pt idx="3">
                  <c:v>0.91</c:v>
                </c:pt>
                <c:pt idx="4">
                  <c:v>0.8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20F8B65B-063F-4121-AC75-20CF8F74D82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91127CF7-C85C-426F-991D-1B6192AADA4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760E9545-4FB3-4CD2-A014-5CB76F4F6C3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B2AA1496-AAF8-4CD2-A965-D81D301F732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3</c:v>
                </c:pt>
                <c:pt idx="1">
                  <c:v>0.2</c:v>
                </c:pt>
                <c:pt idx="2">
                  <c:v>0.08</c:v>
                </c:pt>
                <c:pt idx="3">
                  <c:v>0.09</c:v>
                </c:pt>
                <c:pt idx="4">
                  <c:v>0.140000000000000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7%</c:v>
                  </c:pt>
                  <c:pt idx="1">
                    <c:v>80%</c:v>
                  </c:pt>
                  <c:pt idx="2">
                    <c:v>92%</c:v>
                  </c:pt>
                  <c:pt idx="3">
                    <c:v>91%</c:v>
                  </c:pt>
                  <c:pt idx="4">
                    <c:v>86%</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77</c:v>
                </c:pt>
                <c:pt idx="2">
                  <c:v>0.92</c:v>
                </c:pt>
                <c:pt idx="3">
                  <c:v>0.8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BB32D4C6-D051-42B9-8E5A-96342E90552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D280D01F-4EAF-43E8-A0A0-0DE17EB773C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082CD651-2BDD-4F61-AC95-14C44590FBD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3</c:v>
                </c:pt>
                <c:pt idx="2">
                  <c:v>0.08</c:v>
                </c:pt>
                <c:pt idx="3">
                  <c:v>0.1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77%</c:v>
                  </c:pt>
                  <c:pt idx="2">
                    <c:v>92%</c:v>
                  </c:pt>
                  <c:pt idx="3">
                    <c:v>88%</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8</c:v>
                </c:pt>
                <c:pt idx="1">
                  <c:v>0</c:v>
                </c:pt>
                <c:pt idx="2">
                  <c:v>0.88</c:v>
                </c:pt>
                <c:pt idx="3">
                  <c:v>0.93</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C721DD75-EF26-439C-9450-995CC33879A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FAB19A39-6EC7-4228-9730-FAFC3F05DB1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40D452D9-C01B-4588-8126-897E3454E24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D7A19B1C-EAA6-440D-BD8B-A0218350EA5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2</c:v>
                </c:pt>
                <c:pt idx="1">
                  <c:v>0</c:v>
                </c:pt>
                <c:pt idx="2">
                  <c:v>0.12</c:v>
                </c:pt>
                <c:pt idx="3">
                  <c:v>7.0000000000000007E-2</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8%</c:v>
                  </c:pt>
                  <c:pt idx="1">
                    <c:v>-</c:v>
                  </c:pt>
                  <c:pt idx="2">
                    <c:v>88%</c:v>
                  </c:pt>
                  <c:pt idx="3">
                    <c:v>93%</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6</c:v>
                </c:pt>
                <c:pt idx="1">
                  <c:v>0.89</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AFDC9782-C024-4947-AF7A-B8C00001B89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1379DF88-C70C-4B5D-8BF0-9174136ED19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779176DA-FF7B-466A-90B9-567F6A93D99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543F5B2E-CCBA-4CF9-9B75-1BB72162523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4000000000000001</c:v>
                </c:pt>
                <c:pt idx="1">
                  <c:v>0.11</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6%</c:v>
                  </c:pt>
                  <c:pt idx="1">
                    <c:v>89%</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9</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E19115E7-CB9B-468B-A575-89F1830E62C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BD777FF2-9310-4D97-B470-EAF8335CCC9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9%</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5</c:v>
                </c:pt>
                <c:pt idx="1">
                  <c:v>86</c:v>
                </c:pt>
                <c:pt idx="2">
                  <c:v>2</c:v>
                </c:pt>
                <c:pt idx="3">
                  <c:v>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85</c:v>
                </c:pt>
                <c:pt idx="1">
                  <c:v>12</c:v>
                </c:pt>
                <c:pt idx="2">
                  <c:v>3</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r>
                      <a:rPr lang="en-GB"/>
                      <a:t>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115E-48E7-9278-D03DDCBD9794}"/>
                </c:ext>
              </c:extLst>
            </c:dLbl>
            <c:dLbl>
              <c:idx val="2"/>
              <c:tx>
                <c:rich>
                  <a:bodyPr/>
                  <a:lstStyle/>
                  <a:p>
                    <a:fld id="{D9AA6A3B-30C4-4117-9C96-7C3C99C74EF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r>
                      <a:rPr lang="en-GB"/>
                      <a:t>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115E-48E7-9278-D03DDCBD9794}"/>
                </c:ext>
              </c:extLst>
            </c:dLbl>
            <c:dLbl>
              <c:idx val="4"/>
              <c:tx>
                <c:rich>
                  <a:bodyPr/>
                  <a:lstStyle/>
                  <a:p>
                    <a:fld id="{A14F9E0F-E85A-4463-A7EF-D7A74BC82B3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r>
                      <a:rPr lang="en-GB"/>
                      <a:t>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15E-48E7-9278-D03DDCBD9794}"/>
                </c:ext>
              </c:extLst>
            </c:dLbl>
            <c:dLbl>
              <c:idx val="6"/>
              <c:tx>
                <c:rich>
                  <a:bodyPr/>
                  <a:lstStyle/>
                  <a:p>
                    <a:r>
                      <a:rPr lang="en-GB"/>
                      <a:t>3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4</c:v>
                </c:pt>
                <c:pt idx="1">
                  <c:v>8</c:v>
                </c:pt>
                <c:pt idx="2">
                  <c:v>3</c:v>
                </c:pt>
                <c:pt idx="3">
                  <c:v>4</c:v>
                </c:pt>
                <c:pt idx="4">
                  <c:v>3</c:v>
                </c:pt>
                <c:pt idx="5">
                  <c:v>5</c:v>
                </c:pt>
                <c:pt idx="6">
                  <c:v>3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4%</c:v>
                  </c:pt>
                  <c:pt idx="1">
                    <c:v>8%p</c:v>
                  </c:pt>
                  <c:pt idx="2">
                    <c:v>3%</c:v>
                  </c:pt>
                  <c:pt idx="3">
                    <c:v>4%p</c:v>
                  </c:pt>
                  <c:pt idx="4">
                    <c:v>3%</c:v>
                  </c:pt>
                  <c:pt idx="5">
                    <c:v>5%p</c:v>
                  </c:pt>
                  <c:pt idx="6">
                    <c:v>34%q</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7B7149A3-5FE9-4702-8B78-688D72C4DA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r>
                      <a:rPr lang="en-GB"/>
                      <a:t>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05C-4A2F-9A88-03A72AE7F3F6}"/>
                </c:ext>
              </c:extLst>
            </c:dLbl>
            <c:dLbl>
              <c:idx val="3"/>
              <c:tx>
                <c:rich>
                  <a:bodyPr/>
                  <a:lstStyle/>
                  <a:p>
                    <a:fld id="{8FBE070D-3D25-44D4-94EA-ED2D5F1735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A28CC243-909A-4DB8-A5A5-AB06F78C10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3A369F46-1A73-4F51-BA61-89972CF9B6B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D00C0000-D2F2-4492-8BB1-91A7AA6740A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2</c:v>
                </c:pt>
                <c:pt idx="1">
                  <c:v>10</c:v>
                </c:pt>
                <c:pt idx="2">
                  <c:v>6</c:v>
                </c:pt>
                <c:pt idx="3">
                  <c:v>2</c:v>
                </c:pt>
                <c:pt idx="4">
                  <c:v>14</c:v>
                </c:pt>
                <c:pt idx="5">
                  <c:v>5</c:v>
                </c:pt>
                <c:pt idx="6">
                  <c:v>3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2%</c:v>
                  </c:pt>
                  <c:pt idx="1">
                    <c:v>10%</c:v>
                  </c:pt>
                  <c:pt idx="2">
                    <c:v>6%p</c:v>
                  </c:pt>
                  <c:pt idx="3">
                    <c:v>2%</c:v>
                  </c:pt>
                  <c:pt idx="4">
                    <c:v>14%</c:v>
                  </c:pt>
                  <c:pt idx="5">
                    <c:v>5%</c:v>
                  </c:pt>
                  <c:pt idx="6">
                    <c:v>3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04D45CB8-B501-40A0-AFFC-0552444292F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8AB6A1AF-E184-4E78-AA8B-7938C26AC9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9</c:v>
                </c:pt>
                <c:pt idx="1">
                  <c:v>9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9%</c:v>
                  </c:pt>
                  <c:pt idx="1">
                    <c:v>91%</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70B3F103-9ABB-423A-BD44-C3836774A3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FB526A93-E97D-4B87-98FD-48A28A8AD44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9</c:v>
                </c:pt>
                <c:pt idx="1">
                  <c:v>9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9%</c:v>
                  </c:pt>
                  <c:pt idx="1">
                    <c:v>91%</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5602B061-1B38-4A03-A3EE-8B0214CD27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0AA6D5FA-BF04-45DA-BCB5-9DF98994CA1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2</c:v>
                </c:pt>
                <c:pt idx="1">
                  <c:v>7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2%</c:v>
                  </c:pt>
                  <c:pt idx="1">
                    <c:v>78%</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30E337FD-FE20-4CAD-8997-2DF8290816E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C414BF51-CFF3-4CFA-BD0D-2AF6B699335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936608A0-D0DC-45CC-9034-D1D62A6CA52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09DD9238-DFDA-4AFC-B26C-40A82113704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6000000000000005</c:v>
                </c:pt>
                <c:pt idx="1">
                  <c:v>0.43</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6%</c:v>
                  </c:pt>
                  <c:pt idx="1">
                    <c:v>43%</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7B074ED0-863E-4209-868F-860987E09CE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D7E55A3A-365A-4C57-8234-970069BA44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A7874D10-B0DE-4E9C-A53A-99011E48B0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6E616E92-7850-4D34-A363-2A1FB076F55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7999999999999996</c:v>
                </c:pt>
                <c:pt idx="1">
                  <c:v>0.42</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8%</c:v>
                  </c:pt>
                  <c:pt idx="1">
                    <c:v>42%</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69DD6444-BF80-4B29-AFCE-F5F99527B05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781DB9E9-E17A-4FA1-8E24-5BF245343FC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85937CE0-30CF-434A-89AB-249E7CF4AD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5CE424E9-C7EB-46AF-9E27-455AE9E105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c:v>
                </c:pt>
                <c:pt idx="1">
                  <c:v>9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c:v>
                  </c:pt>
                  <c:pt idx="1">
                    <c:v>96%</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2EB74B4C-84EE-4A6F-BE18-512DDDB0C6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084604D3-AA4B-4B68-9253-B2897D1F8BB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c:v>
                </c:pt>
                <c:pt idx="1">
                  <c:v>9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c:v>
                  </c:pt>
                  <c:pt idx="1">
                    <c:v>94%</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7E69EBE5-FA04-4442-9844-B97F7AF094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C67075AF-D4E6-4141-AF0F-4EF052CBA2E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86AC8371-4334-439F-B74B-71F8EDB5B99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fld id="{2D595093-EBAF-439B-A4B5-42D46521F14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r>
                      <a:rPr lang="en-GB"/>
                      <a:t>9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73EB-456C-B74D-581899DAC290}"/>
                </c:ext>
              </c:extLst>
            </c:dLbl>
            <c:dLbl>
              <c:idx val="5"/>
              <c:tx>
                <c:rich>
                  <a:bodyPr/>
                  <a:lstStyle/>
                  <a:p>
                    <a:r>
                      <a:rPr lang="en-GB"/>
                      <a:t>3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73EB-456C-B74D-581899DAC290}"/>
                </c:ext>
              </c:extLst>
            </c:dLbl>
            <c:dLbl>
              <c:idx val="6"/>
              <c:tx>
                <c:rich>
                  <a:bodyPr/>
                  <a:lstStyle/>
                  <a:p>
                    <a:fld id="{F819B383-14DC-4218-94D8-CAB05F0BBAD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3</c:v>
                </c:pt>
                <c:pt idx="1">
                  <c:v>92</c:v>
                </c:pt>
                <c:pt idx="2">
                  <c:v>82</c:v>
                </c:pt>
                <c:pt idx="3">
                  <c:v>68</c:v>
                </c:pt>
                <c:pt idx="4">
                  <c:v>95</c:v>
                </c:pt>
                <c:pt idx="5">
                  <c:v>38</c:v>
                </c:pt>
                <c:pt idx="6">
                  <c:v>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3%</c:v>
                  </c:pt>
                  <c:pt idx="1">
                    <c:v>92%</c:v>
                  </c:pt>
                  <c:pt idx="2">
                    <c:v>82%</c:v>
                  </c:pt>
                  <c:pt idx="3">
                    <c:v>68%</c:v>
                  </c:pt>
                  <c:pt idx="4">
                    <c:v>95%p</c:v>
                  </c:pt>
                  <c:pt idx="5">
                    <c:v>38%p</c:v>
                  </c:pt>
                  <c:pt idx="6">
                    <c:v>*</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FAB40D9B-CEFF-40FD-B3E2-80A91DD40E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99A01E95-C467-454F-92D6-61120F571EA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F8A07DE7-0376-4D9A-BEDE-C87BA39C4E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fld id="{03501D56-7AA7-456A-A715-2CF23F0436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70DE92E4-DC8D-460E-AA90-6A29EB7C278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7B11EE1E-770A-40C9-88CE-F4114F45957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EEF5693D-D6FA-44FF-BE5E-609B63AC28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5</c:v>
                </c:pt>
                <c:pt idx="1">
                  <c:v>91</c:v>
                </c:pt>
                <c:pt idx="2">
                  <c:v>70</c:v>
                </c:pt>
                <c:pt idx="3">
                  <c:v>68</c:v>
                </c:pt>
                <c:pt idx="4">
                  <c:v>90</c:v>
                </c:pt>
                <c:pt idx="5">
                  <c:v>41</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5%</c:v>
                  </c:pt>
                  <c:pt idx="1">
                    <c:v>91%</c:v>
                  </c:pt>
                  <c:pt idx="2">
                    <c:v>70%</c:v>
                  </c:pt>
                  <c:pt idx="3">
                    <c:v>68%</c:v>
                  </c:pt>
                  <c:pt idx="4">
                    <c:v>90%</c:v>
                  </c:pt>
                  <c:pt idx="5">
                    <c:v>41%</c:v>
                  </c:pt>
                  <c:pt idx="6">
                    <c:v>1%</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3</c:v>
                </c:pt>
                <c:pt idx="1">
                  <c:v>31</c:v>
                </c:pt>
                <c:pt idx="2">
                  <c:v>13</c:v>
                </c:pt>
                <c:pt idx="3">
                  <c:v>2</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2</c:v>
                </c:pt>
                <c:pt idx="1">
                  <c:v>27</c:v>
                </c:pt>
                <c:pt idx="2">
                  <c:v>15</c:v>
                </c:pt>
                <c:pt idx="3">
                  <c:v>4</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79320C76-6F1C-4EA6-BE9E-6966CC447D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480389B8-3324-4D81-9E1B-DE1BF5603A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CE01E395-4F42-4F6F-9EDF-FAC7896D8EB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52DCEAA5-8430-40B5-B8FC-043FEEA240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8</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8%</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7</c:v>
                </c:pt>
                <c:pt idx="1">
                  <c:v>31</c:v>
                </c:pt>
                <c:pt idx="2">
                  <c:v>6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9</c:v>
                </c:pt>
                <c:pt idx="1">
                  <c:v>46</c:v>
                </c:pt>
                <c:pt idx="2">
                  <c:v>4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15</c:v>
                </c:pt>
                <c:pt idx="2">
                  <c:v>32</c:v>
                </c:pt>
                <c:pt idx="3">
                  <c:v>16</c:v>
                </c:pt>
                <c:pt idx="4">
                  <c:v>2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2</c:v>
                </c:pt>
                <c:pt idx="1">
                  <c:v>24</c:v>
                </c:pt>
                <c:pt idx="2">
                  <c:v>19</c:v>
                </c:pt>
                <c:pt idx="3">
                  <c:v>18</c:v>
                </c:pt>
                <c:pt idx="4">
                  <c:v>1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28399999999999997</c:v>
                </c:pt>
                <c:pt idx="1">
                  <c:v>0.17599999999999999</c:v>
                </c:pt>
                <c:pt idx="2">
                  <c:v>0.21199999999999999</c:v>
                </c:pt>
                <c:pt idx="3">
                  <c:v>0.16500000000000001</c:v>
                </c:pt>
                <c:pt idx="4">
                  <c:v>0.163000000000000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34300000000000003</c:v>
                </c:pt>
                <c:pt idx="1">
                  <c:v>0.184</c:v>
                </c:pt>
                <c:pt idx="2">
                  <c:v>0.188</c:v>
                </c:pt>
                <c:pt idx="3">
                  <c:v>0.14299999999999999</c:v>
                </c:pt>
                <c:pt idx="4">
                  <c:v>0.1429999999999999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14</c:v>
                </c:pt>
                <c:pt idx="2">
                  <c:v>31</c:v>
                </c:pt>
                <c:pt idx="3">
                  <c:v>18</c:v>
                </c:pt>
                <c:pt idx="4">
                  <c:v>2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6</c:v>
                </c:pt>
                <c:pt idx="1">
                  <c:v>21</c:v>
                </c:pt>
                <c:pt idx="2">
                  <c:v>17</c:v>
                </c:pt>
                <c:pt idx="3">
                  <c:v>23</c:v>
                </c:pt>
                <c:pt idx="4">
                  <c:v>2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4</c:v>
                </c:pt>
                <c:pt idx="1">
                  <c:v>22</c:v>
                </c:pt>
                <c:pt idx="2">
                  <c:v>30</c:v>
                </c:pt>
                <c:pt idx="3">
                  <c:v>15</c:v>
                </c:pt>
                <c:pt idx="4">
                  <c:v>1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6</c:v>
                </c:pt>
                <c:pt idx="1">
                  <c:v>26</c:v>
                </c:pt>
                <c:pt idx="2">
                  <c:v>17</c:v>
                </c:pt>
                <c:pt idx="3">
                  <c:v>14</c:v>
                </c:pt>
                <c:pt idx="4">
                  <c:v>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EEA08946-077B-48AE-A57B-6EE92787F8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054934DF-DC53-45DE-8286-294D63D1290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DA0C9AAA-E2B5-4141-A68E-157ACF89B5A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36C524E1-09F6-49D6-BA28-6E807513F0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9</c:v>
                </c:pt>
                <c:pt idx="1">
                  <c:v>0</c:v>
                </c:pt>
                <c:pt idx="2">
                  <c:v>0.04</c:v>
                </c:pt>
                <c:pt idx="3">
                  <c:v>0.03</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89%</c:v>
                  </c:pt>
                  <c:pt idx="1">
                    <c:v>-</c:v>
                  </c:pt>
                  <c:pt idx="2">
                    <c:v>4%</c:v>
                  </c:pt>
                  <c:pt idx="3">
                    <c:v>3%</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214CDD5E-D18C-46DD-B284-EA1145B60C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853650B5-9FA5-4A59-A174-EB3736F6CC4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04690287-26DB-4801-AC5E-30B4DE8F848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9D43B7BA-1FE0-4ABE-9F40-EA6CABA44BB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87</c:v>
                </c:pt>
                <c:pt idx="1">
                  <c:v>0</c:v>
                </c:pt>
                <c:pt idx="2">
                  <c:v>7.0000000000000007E-2</c:v>
                </c:pt>
                <c:pt idx="3">
                  <c:v>0.04</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87%</c:v>
                  </c:pt>
                  <c:pt idx="1">
                    <c:v>-</c:v>
                  </c:pt>
                  <c:pt idx="2">
                    <c:v>7%</c:v>
                  </c:pt>
                  <c:pt idx="3">
                    <c:v>4%</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1</c:v>
                </c:pt>
                <c:pt idx="2">
                  <c:v>30</c:v>
                </c:pt>
                <c:pt idx="3">
                  <c:v>18</c:v>
                </c:pt>
                <c:pt idx="4">
                  <c:v>3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8</c:v>
                </c:pt>
                <c:pt idx="1">
                  <c:v>17</c:v>
                </c:pt>
                <c:pt idx="2">
                  <c:v>27</c:v>
                </c:pt>
                <c:pt idx="3">
                  <c:v>18</c:v>
                </c:pt>
                <c:pt idx="4">
                  <c:v>2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2</c:v>
                </c:pt>
                <c:pt idx="1">
                  <c:v>26</c:v>
                </c:pt>
                <c:pt idx="2">
                  <c:v>41</c:v>
                </c:pt>
                <c:pt idx="3">
                  <c:v>2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8</c:v>
                </c:pt>
                <c:pt idx="1">
                  <c:v>36</c:v>
                </c:pt>
                <c:pt idx="2">
                  <c:v>28</c:v>
                </c:pt>
                <c:pt idx="3">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5</c:v>
                </c:pt>
                <c:pt idx="1">
                  <c:v>35</c:v>
                </c:pt>
                <c:pt idx="2">
                  <c:v>13</c:v>
                </c:pt>
                <c:pt idx="3">
                  <c:v>4</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9</c:v>
                </c:pt>
                <c:pt idx="1">
                  <c:v>22</c:v>
                </c:pt>
                <c:pt idx="2">
                  <c:v>5</c:v>
                </c:pt>
                <c:pt idx="3">
                  <c:v>3</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6</c:v>
                </c:pt>
                <c:pt idx="1">
                  <c:v>47</c:v>
                </c:pt>
                <c:pt idx="2">
                  <c:v>14</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4</c:v>
                </c:pt>
                <c:pt idx="1">
                  <c:v>45</c:v>
                </c:pt>
                <c:pt idx="2">
                  <c:v>18</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9</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6E761786-EA29-4EA4-B7C6-050DEDAA6B7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29202573-B5B2-4524-AE0C-6DEEB0936E4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15B75A5C-9EE1-467D-8FE9-DD9C621AFD7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7C9118C6-2567-4B12-A941-33D6BE9E40E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4</c:v>
                </c:pt>
                <c:pt idx="1">
                  <c:v>1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4%</c:v>
                  </c:pt>
                  <c:pt idx="1">
                    <c:v>16%</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BBF702C5-D355-496B-A755-4DE1E2E0EC4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AC6AACB1-C27E-450D-A755-4E67E13C52F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7</c:v>
                </c:pt>
                <c:pt idx="1">
                  <c:v>4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7%</c:v>
                  </c:pt>
                  <c:pt idx="1">
                    <c:v>43%</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0C3F4158-773C-440D-A84C-13B74D7882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B2A10872-9BFF-4C41-ACFD-F7DE06E6D13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06016C25-C6E9-44E8-AEAD-7C60F08505D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018901A2-7005-439D-8413-01484BDFB12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2</c:v>
                </c:pt>
                <c:pt idx="1">
                  <c:v>5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2%</c:v>
                  </c:pt>
                  <c:pt idx="1">
                    <c:v>58%</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EE04B3B7-2B15-42EF-92BF-EF1B25E033F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E5360A6B-5535-4776-883D-BB60BFE69A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0</c:v>
                </c:pt>
                <c:pt idx="1">
                  <c:v>6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0%</c:v>
                  </c:pt>
                  <c:pt idx="1">
                    <c:v>60%</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FB3CABFA-3342-42BB-AD0A-374087A4B4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6F29488B-DA59-499F-A8D3-2AA823B07E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7</c:v>
                </c:pt>
                <c:pt idx="1">
                  <c:v>5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7%</c:v>
                  </c:pt>
                  <c:pt idx="1">
                    <c:v>53%</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8E3554EF-0671-46E3-A472-ABBCF856063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4DD36ED8-51A5-4B53-A4CE-C5B2E224520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0</c:v>
                </c:pt>
                <c:pt idx="1">
                  <c:v>7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0%</c:v>
                  </c:pt>
                  <c:pt idx="1">
                    <c:v>70%</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1A98E9F0-5D21-4510-B68D-EBB78D572B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82D92944-F474-4974-A113-85AC8121577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48235FCD-4C8C-4872-9309-1DCC22ED80E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47780E8-A37F-4F60-A466-6CCAECCBB95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F81-41A0-AA5F-E21FFFB8EB7E}"/>
                </c:ext>
              </c:extLst>
            </c:dLbl>
            <c:dLbl>
              <c:idx val="1"/>
              <c:tx>
                <c:rich>
                  <a:bodyPr/>
                  <a:lstStyle/>
                  <a:p>
                    <a:fld id="{EB7DE717-68D0-4002-B68D-46C6063F60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4</c:v>
                </c:pt>
                <c:pt idx="1">
                  <c:v>2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4%</c:v>
                  </c:pt>
                  <c:pt idx="1">
                    <c:v>26%</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89E4D523-6094-46AB-8AC6-237E83DE0DE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CFA0DC5A-BBDA-46BC-BBA3-FA0816C06E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9</c:v>
                </c:pt>
                <c:pt idx="1">
                  <c:v>4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9%</c:v>
                  </c:pt>
                  <c:pt idx="1">
                    <c:v>41%</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317983B4-6610-41AE-BEC9-EA6845E26F9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218321BC-ADA9-4A5D-A1DE-09B59A5BD7A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8</c:v>
                </c:pt>
                <c:pt idx="1">
                  <c:v>5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8%</c:v>
                  </c:pt>
                  <c:pt idx="1">
                    <c:v>52%</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6798E0F0-B80F-4AC9-A4D4-9E86A9425D7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0291DB47-2A28-45D9-9A1E-E21277CFFF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89A3968A-603E-492E-8FFB-C0C0159C0D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76324D57-0B4E-4CB4-8846-0B5AAD571AD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4</c:v>
                </c:pt>
                <c:pt idx="1">
                  <c:v>2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4%</c:v>
                  </c:pt>
                  <c:pt idx="1">
                    <c:v>26%</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52</c:v>
                </c:pt>
                <c:pt idx="1">
                  <c:v>32</c:v>
                </c:pt>
                <c:pt idx="2">
                  <c:v>1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3</c:v>
                </c:pt>
                <c:pt idx="1">
                  <c:v>47</c:v>
                </c:pt>
                <c:pt idx="2">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F0634195-8A8D-4B83-8C36-1E0E697D7EF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70376AC7-A862-45AB-B260-C0E430E4082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404BF935-1009-47F5-9046-CBEF2856D3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F11F0E24-4082-4D66-BABC-50BADCE1D47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74881882-9537-4612-B68B-9DDB6C22B95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6E7371B8-F0C7-4080-8D4D-A11AA4189D8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5</c:v>
                </c:pt>
                <c:pt idx="1">
                  <c:v>9</c:v>
                </c:pt>
                <c:pt idx="2">
                  <c:v>62</c:v>
                </c:pt>
                <c:pt idx="3">
                  <c:v>32</c:v>
                </c:pt>
                <c:pt idx="4">
                  <c:v>16</c:v>
                </c:pt>
                <c:pt idx="5">
                  <c:v>20</c:v>
                </c:pt>
                <c:pt idx="6">
                  <c:v>1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5%</c:v>
                  </c:pt>
                  <c:pt idx="1">
                    <c:v>9%</c:v>
                  </c:pt>
                  <c:pt idx="2">
                    <c:v>62%</c:v>
                  </c:pt>
                  <c:pt idx="3">
                    <c:v>32%</c:v>
                  </c:pt>
                  <c:pt idx="4">
                    <c:v>16%</c:v>
                  </c:pt>
                  <c:pt idx="5">
                    <c:v>20%</c:v>
                  </c:pt>
                  <c:pt idx="6">
                    <c:v>11%</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D45F181E-FF39-4B02-AD40-7E2A7FB773C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B918877F-6F5E-427B-B2AC-3500E6D5CC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E4A96EFE-721F-4C66-818A-FBFCAEE5CF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349305E3-70D1-486F-8794-8D325D51A0B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4E36BD62-B79A-4C53-9C45-1CC066FDFA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CCBCC3FC-EC1E-490D-B5FD-BF78F29654F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8</c:v>
                </c:pt>
                <c:pt idx="1">
                  <c:v>19</c:v>
                </c:pt>
                <c:pt idx="2">
                  <c:v>33</c:v>
                </c:pt>
                <c:pt idx="3">
                  <c:v>42</c:v>
                </c:pt>
                <c:pt idx="4">
                  <c:v>9</c:v>
                </c:pt>
                <c:pt idx="5">
                  <c:v>11</c:v>
                </c:pt>
                <c:pt idx="6">
                  <c:v>1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28%</c:v>
                  </c:pt>
                  <c:pt idx="1">
                    <c:v>19%</c:v>
                  </c:pt>
                  <c:pt idx="2">
                    <c:v>33%</c:v>
                  </c:pt>
                  <c:pt idx="3">
                    <c:v>42%</c:v>
                  </c:pt>
                  <c:pt idx="4">
                    <c:v>9%</c:v>
                  </c:pt>
                  <c:pt idx="5">
                    <c:v>11%</c:v>
                  </c:pt>
                  <c:pt idx="6">
                    <c:v>11%</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49</c:v>
                </c:pt>
                <c:pt idx="1">
                  <c:v>41</c:v>
                </c:pt>
                <c:pt idx="2">
                  <c:v>8</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8</c:v>
                </c:pt>
                <c:pt idx="1">
                  <c:v>36</c:v>
                </c:pt>
                <c:pt idx="2">
                  <c:v>6</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3%</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4</c:v>
                </c:pt>
                <c:pt idx="1">
                  <c:v>0.76</c:v>
                </c:pt>
                <c:pt idx="2">
                  <c:v>0.8</c:v>
                </c:pt>
                <c:pt idx="3">
                  <c:v>0.87</c:v>
                </c:pt>
                <c:pt idx="4">
                  <c:v>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6B3A03B4-83BF-45A2-AEA1-0CBA7CABAD7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57D226CB-D136-4539-9689-2D40B797185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A43E07A1-ED80-436B-A937-0C6365ED465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0E23F197-5CED-433D-B88A-6C8B9DDE14B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6</c:v>
                </c:pt>
                <c:pt idx="1">
                  <c:v>0.24</c:v>
                </c:pt>
                <c:pt idx="2">
                  <c:v>0.2</c:v>
                </c:pt>
                <c:pt idx="3">
                  <c:v>0.13</c:v>
                </c:pt>
                <c:pt idx="4">
                  <c:v>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4%</c:v>
                  </c:pt>
                  <c:pt idx="1">
                    <c:v>76%</c:v>
                  </c:pt>
                  <c:pt idx="2">
                    <c:v>80%</c:v>
                  </c:pt>
                  <c:pt idx="3">
                    <c:v>87%</c:v>
                  </c:pt>
                  <c:pt idx="4">
                    <c:v>90%</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TTINGHAM AND NOTTINGHAMSHIRE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TTINGHAM AND NOTTINGHAMSHIRE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TTINGHAM AND NOTTINGHAMSHIRE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TTINGHAM AND NOTTINGHAMSHIRE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TTINGHAM AND NOTTINGHAMSHIRE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NOTTINGHAM AND NOTTINGHAMSHIRE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323348229"/>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blood test check as part of their last annual review
Having a smoking status review as part of their last annual review
Participating in a course about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363569811"/>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357737631"/>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678272987"/>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NOTTINGHAM AND NOTTINGHAM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89671781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05512982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85% of respondents who were marked as Type 1 in the sample selected ‘Type 1’, 12% selected ‘Type 2’, 3% selected ‘Other’ and 1% selected ‘I don’t know’ ​</a:t>
            </a:r>
          </a:p>
          <a:p>
            <a:pPr marL="171450" indent="-171450">
              <a:buFont typeface="Arial" panose="020B0604020202020204" pitchFamily="34" charset="0"/>
              <a:buChar char="•"/>
              <a:defRPr/>
            </a:pPr>
            <a:r>
              <a:rPr lang="en-GB" sz="1200" dirty="0">
                <a:solidFill>
                  <a:schemeClr val="tx1"/>
                </a:solidFill>
                <a:effectLst/>
              </a:rPr>
              <a:t>86% of respondents who were marked as Type 2 in the sample selected ‘Type 2’, 5% selected ‘Type 1’, 2% selected ‘Other’ and 6%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397); Type 2, ICS (568)).</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367479818"/>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928439732"/>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1113243919"/>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3102180710"/>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179928472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46); Type 2, National (19,941), ICS (473))</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168017358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179508300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56); Type 2, National (22,278), ICS (527))</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19338858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406085413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20); Type 2, National (21,082), ICS (499))</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222919420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420857984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398); Type 2, National (24,180), ICS (568))</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142699671"/>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30116649"/>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3711249899"/>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3560772420"/>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272504339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81); Type 2, National (22,482), ICS (534))</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01517603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61532770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423426735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120880339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319634866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380892811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251622677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108361332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318500926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386); Type 2, National (22,670), ICS (540))</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276863226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6700169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371802654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425602794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71310271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175993045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43164298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367343562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48427600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397); Type 2, National (24,076), ICS (563))</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41148410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76810330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114348706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100141568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18929561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107108898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176674505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32520093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397); Type 2, National (24,153), ICS (569))</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165692164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26954474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42730577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345141956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55529022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377757706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198783025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14348008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299262256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396); Type 2, National (24,135), ICS (568))</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67680921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273377546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211065164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337011242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1022503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29074303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52033707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88100010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262764472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97); Type 2, National (24,084), ICS (56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40205250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201859604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85921013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245506543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131028131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344389092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57251247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357139305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292255212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96); Type 2, National (24,070), ICS (56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127858115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3249612944"/>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31153596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1450362893"/>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123923550"/>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408669409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1954146687"/>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179868310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361929394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96); Type 2, National (24,260), ICS (571))</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138381043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42916567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301863083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178194310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131737845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297489093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0767296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339074406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147398419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398); Type 2, National (24,267), ICS (571))</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142092922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305201085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256101072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56624651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410554821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165464266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270005416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358237069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24352307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98); Type 2, National (24,196), ICS (572))</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364466993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272543446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424609136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394); Type 2, National (24,019), ICS (566))</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377541004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109959237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92); Type 2, National (11,860), ICS (290))</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291745369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408869951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80); Type 2, National (21,228), ICS (502))</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55516033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280156810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77); Type 2, National (20,915), ICS (493))</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229783251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133513859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55); Type 2, National (20,086), ICS (478))</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402803765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63378238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71); Type 2, National (21,890), ICS (517))</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129390578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225667914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64); Type 2, National (18,585), ICS (447))</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89836407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385845156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391324608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73898257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218191683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47625977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333346838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49219112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80); Type 2, National (22,580), ICS (539))</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308002801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337428617"/>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239618640"/>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179146755"/>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2477035385"/>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33350942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82); Type 2, National (12,350), ICS (305))</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373094563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1489334163"/>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177349087"/>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283490360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86794558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217682272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215788702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427833734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69); Type 2, National (10,911), ICS (24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255115155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4134666858"/>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629822981"/>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847488338"/>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4854740"/>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96681629"/>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4227464981"/>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84))</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149116769"/>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323405455"/>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335190860"/>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261035092"/>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795447450"/>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997235936"/>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38))</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NOTTINGHAM AND NOTTINGHAMSHIRE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481</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74</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39%</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399</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75</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004</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477</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1431119206"/>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1529378976"/>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2333632775"/>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1091896942"/>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2810754729"/>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4070669296"/>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3974241719"/>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NOTTINGHAM AND NOTTINGHAMSHIRE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194357756"/>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Participating in a course about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102204356"/>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380488381"/>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742508967"/>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897</TotalTime>
  <Words>5279</Words>
  <Application>Microsoft Office PowerPoint</Application>
  <PresentationFormat>Widescreen</PresentationFormat>
  <Paragraphs>807</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lack</vt:lpstr>
      <vt:lpstr>Roboto</vt:lpstr>
      <vt:lpstr>Arial</vt:lpstr>
      <vt:lpstr>HelveticaNeueLT Std Lt Cn</vt:lpstr>
      <vt:lpstr>Wingdings 3</vt:lpstr>
      <vt:lpstr>Segoe UI</vt:lpstr>
      <vt:lpstr>Barlow</vt:lpstr>
      <vt:lpstr>Arial (Body)</vt:lpstr>
      <vt:lpstr>Wingdings</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Emily Fudge</cp:lastModifiedBy>
  <cp:revision>174</cp:revision>
  <cp:lastPrinted>2024-09-17T13:37:47Z</cp:lastPrinted>
  <dcterms:created xsi:type="dcterms:W3CDTF">2024-06-17T14:42:21Z</dcterms:created>
  <dcterms:modified xsi:type="dcterms:W3CDTF">2024-12-04T10:2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